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328" r:id="rId2"/>
    <p:sldId id="330" r:id="rId3"/>
    <p:sldId id="332" r:id="rId4"/>
    <p:sldId id="337" r:id="rId5"/>
    <p:sldId id="334" r:id="rId6"/>
    <p:sldId id="336" r:id="rId7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just format 2 - Dekorfär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664" autoAdjust="0"/>
    <p:restoredTop sz="96357" autoAdjust="0"/>
  </p:normalViewPr>
  <p:slideViewPr>
    <p:cSldViewPr snapToGrid="0">
      <p:cViewPr varScale="1">
        <p:scale>
          <a:sx n="96" d="100"/>
          <a:sy n="96" d="100"/>
        </p:scale>
        <p:origin x="59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8EA18D-0120-4422-A1F3-FD346E576CD9}" type="datetimeFigureOut">
              <a:rPr lang="sv-SE" smtClean="0"/>
              <a:t>2023-12-20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D82B77-8D35-43CB-A246-DEDF706A761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25115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57013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639727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94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614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916153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87645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299128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07365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755362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923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536413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3-12-20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90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67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hyperlink" Target="https://sydostrasjukvardsregionen.se/regionsjukvardsledningen/processtod-och-mallar/handlingsplan/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jpg"/><Relationship Id="rId5" Type="http://schemas.openxmlformats.org/officeDocument/2006/relationships/image" Target="../media/image8.gif"/><Relationship Id="rId4" Type="http://schemas.openxmlformats.org/officeDocument/2006/relationships/image" Target="../media/image7.gi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0" y="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2030511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 smtClean="0">
                <a:solidFill>
                  <a:schemeClr val="bg1"/>
                </a:solidFill>
              </a:rPr>
              <a:t>RPO/RSG &lt;område&gt;</a:t>
            </a: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 smtClean="0">
                <a:solidFill>
                  <a:schemeClr val="bg1"/>
                </a:solidFill>
              </a:rPr>
              <a:t>Översiktlig </a:t>
            </a:r>
            <a:r>
              <a:rPr lang="sv-SE" sz="3200" dirty="0" smtClean="0">
                <a:solidFill>
                  <a:schemeClr val="bg1"/>
                </a:solidFill>
              </a:rPr>
              <a:t>handlingsplan</a:t>
            </a:r>
            <a:r>
              <a:rPr lang="sv-SE" sz="3200" dirty="0" smtClean="0">
                <a:solidFill>
                  <a:schemeClr val="bg1"/>
                </a:solidFill>
              </a:rPr>
              <a:t/>
            </a:r>
            <a:br>
              <a:rPr lang="sv-SE" sz="3200" dirty="0" smtClean="0">
                <a:solidFill>
                  <a:schemeClr val="bg1"/>
                </a:solidFill>
              </a:rPr>
            </a:br>
            <a:r>
              <a:rPr lang="sv-SE" sz="3200" dirty="0" smtClean="0">
                <a:solidFill>
                  <a:schemeClr val="bg1"/>
                </a:solidFill>
              </a:rPr>
              <a:t/>
            </a:r>
            <a:br>
              <a:rPr lang="sv-SE" sz="3200" dirty="0" smtClean="0">
                <a:solidFill>
                  <a:schemeClr val="bg1"/>
                </a:solidFill>
              </a:rPr>
            </a:br>
            <a:r>
              <a:rPr lang="sv-SE" sz="1400" dirty="0" smtClean="0">
                <a:solidFill>
                  <a:schemeClr val="bg1"/>
                </a:solidFill>
              </a:rPr>
              <a:t>Uppdaterad: 2023-xx-xx</a:t>
            </a:r>
            <a:endParaRPr lang="sv-S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642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466CE8D-B958-435E-8F94-2AB6E1341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Instruktioner</a:t>
            </a:r>
            <a:endParaRPr lang="sv-SE" sz="3200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2B14E13-E404-44D3-B4CC-5802DAE151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2171734"/>
            <a:ext cx="10972800" cy="3987020"/>
          </a:xfrm>
        </p:spPr>
        <p:txBody>
          <a:bodyPr>
            <a:normAutofit fontScale="92500" lnSpcReduction="10000"/>
          </a:bodyPr>
          <a:lstStyle/>
          <a:p>
            <a:r>
              <a:rPr lang="sv-SE" sz="2000" dirty="0" smtClean="0"/>
              <a:t>Den översiktliga handlingsplanen är en levande lägesbild som används i dialog för kontinuerlig planering, uppföljning och rapportering.</a:t>
            </a:r>
            <a:endParaRPr lang="sv-S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 smtClean="0"/>
              <a:t>Nationellt insatsområde: </a:t>
            </a:r>
            <a:r>
              <a:rPr lang="sv-SE" sz="2000" dirty="0" smtClean="0"/>
              <a:t>insatsområden från NPO </a:t>
            </a:r>
            <a:r>
              <a:rPr lang="sv-SE" sz="2000" dirty="0"/>
              <a:t>verksamhetsplan. Lämnas tom i de fall </a:t>
            </a:r>
            <a:r>
              <a:rPr lang="sv-SE" sz="2000" dirty="0" smtClean="0"/>
              <a:t>RPO/RSG:s </a:t>
            </a:r>
            <a:r>
              <a:rPr lang="sv-SE" sz="2000" dirty="0"/>
              <a:t>prioriterade område inte utgår från nationellt insatsområde</a:t>
            </a:r>
            <a:endParaRPr lang="sv-SE" sz="1467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 smtClean="0"/>
              <a:t>Prioriterat område och patientlöfte:</a:t>
            </a:r>
            <a:r>
              <a:rPr lang="sv-SE" sz="2000" dirty="0" smtClean="0"/>
              <a:t> RPO/RSG:s prioriterade områden kopplade till sjukvårdsregionens patientlöften</a:t>
            </a:r>
            <a:endParaRPr lang="sv-S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 smtClean="0"/>
              <a:t>Aktiviteter:</a:t>
            </a:r>
            <a:r>
              <a:rPr lang="sv-SE" sz="2000" dirty="0" smtClean="0"/>
              <a:t> ange hur det sjukvårdsregionala arbetet bedrivs, tidplan och samverka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 smtClean="0"/>
              <a:t>Uppföljning:</a:t>
            </a:r>
            <a:r>
              <a:rPr lang="sv-SE" sz="2000" dirty="0" smtClean="0"/>
              <a:t> ange metod, kvalitetsindikatorer, </a:t>
            </a:r>
            <a:r>
              <a:rPr lang="sv-SE" sz="2000" dirty="0" err="1" smtClean="0"/>
              <a:t>målvärden</a:t>
            </a:r>
            <a:r>
              <a:rPr lang="sv-SE" sz="2000" dirty="0" smtClean="0"/>
              <a:t> och resultat</a:t>
            </a:r>
            <a:endParaRPr lang="sv-S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 smtClean="0"/>
              <a:t>Status:</a:t>
            </a:r>
            <a:r>
              <a:rPr lang="sv-SE" sz="2000" dirty="0" smtClean="0"/>
              <a:t> ange om arbetet går enligt plan (grön), pågår med mindre problem (gul), </a:t>
            </a:r>
            <a:br>
              <a:rPr lang="sv-SE" sz="2000" dirty="0" smtClean="0"/>
            </a:br>
            <a:r>
              <a:rPr lang="sv-SE" sz="2000" dirty="0" smtClean="0"/>
              <a:t>har allvarliga problem (röd) eller är avslutat (kryssruta)</a:t>
            </a:r>
            <a:endParaRPr lang="sv-SE" sz="2000" dirty="0"/>
          </a:p>
          <a:p>
            <a:r>
              <a:rPr lang="sv-SE" sz="2000" dirty="0" smtClean="0"/>
              <a:t>Använd sidorna ”Resultat” och ”Utmaningar” för att kommentera resultat, utveckling, behov av samverkan eller ledningsstöd, framgångsfaktorer eller hinder för det sjukvårdsregionala samarbetet.</a:t>
            </a:r>
          </a:p>
          <a:p>
            <a:r>
              <a:rPr lang="sv-SE" sz="2000" dirty="0" smtClean="0">
                <a:hlinkClick r:id="rId2"/>
              </a:rPr>
              <a:t>Läs mer om handlingsplan på sjukvårdsregionens webbplats</a:t>
            </a:r>
            <a:endParaRPr lang="sv-SE" sz="2000" dirty="0"/>
          </a:p>
        </p:txBody>
      </p:sp>
      <p:grpSp>
        <p:nvGrpSpPr>
          <p:cNvPr id="8" name="Grupp 7"/>
          <p:cNvGrpSpPr/>
          <p:nvPr/>
        </p:nvGrpSpPr>
        <p:grpSpPr>
          <a:xfrm>
            <a:off x="9871586" y="4626654"/>
            <a:ext cx="1178350" cy="286086"/>
            <a:chOff x="9871586" y="4715666"/>
            <a:chExt cx="1178350" cy="286086"/>
          </a:xfrm>
        </p:grpSpPr>
        <p:pic>
          <p:nvPicPr>
            <p:cNvPr id="4" name="Bildobjekt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71586" y="4716002"/>
              <a:ext cx="285750" cy="285750"/>
            </a:xfrm>
            <a:prstGeom prst="rect">
              <a:avLst/>
            </a:prstGeom>
          </p:spPr>
        </p:pic>
        <p:pic>
          <p:nvPicPr>
            <p:cNvPr id="5" name="Bildobjekt 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72655" y="4716002"/>
              <a:ext cx="285750" cy="285750"/>
            </a:xfrm>
            <a:prstGeom prst="rect">
              <a:avLst/>
            </a:prstGeom>
          </p:spPr>
        </p:pic>
        <p:pic>
          <p:nvPicPr>
            <p:cNvPr id="6" name="Bildobjekt 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6154" y="4716002"/>
              <a:ext cx="285750" cy="285750"/>
            </a:xfrm>
            <a:prstGeom prst="rect">
              <a:avLst/>
            </a:prstGeom>
          </p:spPr>
        </p:pic>
        <p:pic>
          <p:nvPicPr>
            <p:cNvPr id="7" name="Bildobjekt 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95936" y="4715666"/>
              <a:ext cx="254000" cy="266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67022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1576603"/>
              </p:ext>
            </p:extLst>
          </p:nvPr>
        </p:nvGraphicFramePr>
        <p:xfrm>
          <a:off x="0" y="0"/>
          <a:ext cx="12191999" cy="5964024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/>
                        <a:t>Prioriterat område </a:t>
                      </a:r>
                      <a:br>
                        <a:rPr lang="sv-SE" sz="1600" dirty="0" smtClean="0"/>
                      </a:br>
                      <a:r>
                        <a:rPr lang="sv-SE" sz="1600" dirty="0" smtClean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8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endParaRPr lang="sv-SE" sz="1200" b="1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30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79490">
                <a:tc>
                  <a:txBody>
                    <a:bodyPr/>
                    <a:lstStyle/>
                    <a:p>
                      <a:endParaRPr lang="sv-SE" sz="13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7653"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endParaRPr lang="sv-SE" sz="1300" b="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57712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sv-SE" sz="1200" b="0" i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21100">
                <a:tc>
                  <a:txBody>
                    <a:bodyPr/>
                    <a:lstStyle/>
                    <a:p>
                      <a:endParaRPr lang="sv-SE" sz="13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3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86007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/>
          </p:nvPr>
        </p:nvGraphicFramePr>
        <p:xfrm>
          <a:off x="0" y="0"/>
          <a:ext cx="12191999" cy="5964024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/>
                        <a:t>Prioriterat område </a:t>
                      </a:r>
                      <a:br>
                        <a:rPr lang="sv-SE" sz="1600" dirty="0" smtClean="0"/>
                      </a:br>
                      <a:r>
                        <a:rPr lang="sv-SE" sz="1600" dirty="0" smtClean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8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endParaRPr lang="sv-SE" sz="1200" b="1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30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79490">
                <a:tc>
                  <a:txBody>
                    <a:bodyPr/>
                    <a:lstStyle/>
                    <a:p>
                      <a:endParaRPr lang="sv-SE" sz="13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7653"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endParaRPr lang="sv-SE" sz="1300" b="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57712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sv-SE" sz="1200" b="0" i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21100">
                <a:tc>
                  <a:txBody>
                    <a:bodyPr/>
                    <a:lstStyle/>
                    <a:p>
                      <a:endParaRPr lang="sv-SE" sz="13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3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707615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E252DD8-E15D-4AD1-AE43-ED1B51508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Resultat</a:t>
            </a:r>
            <a:r>
              <a:rPr lang="sv-SE" sz="4000" dirty="0"/>
              <a:t> 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9EF301C-865D-4165-8232-E2BCDA80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7145765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AA61D39-FADC-483C-B869-69E42A55D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Utmaninga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8134DDE-3533-4A29-A7E1-ED89121690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1021841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53</TotalTime>
  <Words>179</Words>
  <Application>Microsoft Office PowerPoint</Application>
  <PresentationFormat>Bredbild</PresentationFormat>
  <Paragraphs>23</Paragraphs>
  <Slides>6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6</vt:i4>
      </vt:variant>
    </vt:vector>
  </HeadingPairs>
  <TitlesOfParts>
    <vt:vector size="13" baseType="lpstr">
      <vt:lpstr>Arial</vt:lpstr>
      <vt:lpstr>Bryant Regular</vt:lpstr>
      <vt:lpstr>Calibri</vt:lpstr>
      <vt:lpstr>Times New Roman</vt:lpstr>
      <vt:lpstr>Verdana</vt:lpstr>
      <vt:lpstr>1_Office-tema</vt:lpstr>
      <vt:lpstr>think-cell Slide</vt:lpstr>
      <vt:lpstr>RPO/RSG &lt;område&gt;  Översiktlig handlingsplan  Uppdaterad: 2023-xx-xx</vt:lpstr>
      <vt:lpstr>Instruktioner</vt:lpstr>
      <vt:lpstr>PowerPoint-presentation</vt:lpstr>
      <vt:lpstr>PowerPoint-presentation</vt:lpstr>
      <vt:lpstr>Resultat </vt:lpstr>
      <vt:lpstr>Utmaningar</vt:lpstr>
    </vt:vector>
  </TitlesOfParts>
  <Company>Landstinget i Kalmar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ll för översiktlig handlingsplan</dc:title>
  <dc:creator>Maria Minich Karlsson</dc:creator>
  <cp:lastModifiedBy>Thålin Conny</cp:lastModifiedBy>
  <cp:revision>102</cp:revision>
  <dcterms:created xsi:type="dcterms:W3CDTF">2020-10-30T06:43:58Z</dcterms:created>
  <dcterms:modified xsi:type="dcterms:W3CDTF">2023-12-20T13:25:06Z</dcterms:modified>
</cp:coreProperties>
</file>